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49" r:id="rId4"/>
    <p:sldMasterId id="2147483723" r:id="rId5"/>
    <p:sldMasterId id="2147483736" r:id="rId6"/>
    <p:sldMasterId id="2147483673" r:id="rId7"/>
    <p:sldMasterId id="2147483751" r:id="rId8"/>
    <p:sldMasterId id="2147483685" r:id="rId9"/>
    <p:sldMasterId id="2147483710" r:id="rId10"/>
    <p:sldMasterId id="2147483764" r:id="rId11"/>
  </p:sldMasterIdLst>
  <p:notesMasterIdLst>
    <p:notesMasterId r:id="rId13"/>
  </p:notesMasterIdLst>
  <p:handoutMasterIdLst>
    <p:handoutMasterId r:id="rId14"/>
  </p:handoutMasterIdLst>
  <p:sldIdLst>
    <p:sldId id="2134805558" r:id="rId12"/>
  </p:sldIdLst>
  <p:sldSz cx="12192000" cy="6858000"/>
  <p:notesSz cx="6858000" cy="9144000"/>
  <p:embeddedFontLst>
    <p:embeddedFont>
      <p:font typeface="Cronos Pro" panose="020C0502030403020304" charset="0"/>
      <p:regular r:id="rId15"/>
      <p:bold r:id="rId16"/>
      <p:italic r:id="rId17"/>
      <p:boldItalic r:id="rId18"/>
    </p:embeddedFont>
    <p:embeddedFont>
      <p:font typeface="Helvetica Light" panose="020B0604020202020204" charset="0"/>
      <p:regular r:id="rId19"/>
      <p:italic r:id="rId2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8ED1EB7F-F7B7-4AEA-9E5F-FD886BA7A53B}">
          <p14:sldIdLst/>
        </p14:section>
        <p14:section name="Ejemplo" id="{509D0391-4B24-42C4-9DC5-7110CB6FE9B0}">
          <p14:sldIdLst>
            <p14:sldId id="21348055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81DB72-86CC-12BD-46E5-C3DEFF1C8128}" name="Luis Santiago Portillo Torres" initials="LT" userId="S::lportillo@tigo.com.gt::882c2c0f-2df8-4613-b693-dea2b18b83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77B"/>
    <a:srgbClr val="294480"/>
    <a:srgbClr val="0023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4660"/>
  </p:normalViewPr>
  <p:slideViewPr>
    <p:cSldViewPr snapToGrid="0">
      <p:cViewPr varScale="1">
        <p:scale>
          <a:sx n="78" d="100"/>
          <a:sy n="78" d="100"/>
        </p:scale>
        <p:origin x="494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font" Target="fonts/font3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Usuarios\Javier\Escritorio\Burndown%20char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GT"/>
              <a:t>BurnDown</a:t>
            </a:r>
            <a:r>
              <a:rPr lang="es-GT" baseline="0"/>
              <a:t> Char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GT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5!$O$1</c:f>
              <c:strCache>
                <c:ptCount val="1"/>
                <c:pt idx="0">
                  <c:v>Puntos Propuesto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oja15!$N$2:$N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Hoja15!$O$2:$O$18</c:f>
              <c:numCache>
                <c:formatCode>General</c:formatCode>
                <c:ptCount val="17"/>
                <c:pt idx="0">
                  <c:v>329</c:v>
                </c:pt>
                <c:pt idx="1">
                  <c:v>308</c:v>
                </c:pt>
                <c:pt idx="2">
                  <c:v>287</c:v>
                </c:pt>
                <c:pt idx="3">
                  <c:v>266</c:v>
                </c:pt>
                <c:pt idx="4">
                  <c:v>245</c:v>
                </c:pt>
                <c:pt idx="5">
                  <c:v>224</c:v>
                </c:pt>
                <c:pt idx="6">
                  <c:v>203</c:v>
                </c:pt>
                <c:pt idx="7">
                  <c:v>182</c:v>
                </c:pt>
                <c:pt idx="8">
                  <c:v>161</c:v>
                </c:pt>
                <c:pt idx="9">
                  <c:v>140</c:v>
                </c:pt>
                <c:pt idx="10">
                  <c:v>119</c:v>
                </c:pt>
                <c:pt idx="11">
                  <c:v>98</c:v>
                </c:pt>
                <c:pt idx="12">
                  <c:v>77</c:v>
                </c:pt>
                <c:pt idx="13">
                  <c:v>56</c:v>
                </c:pt>
                <c:pt idx="14">
                  <c:v>28</c:v>
                </c:pt>
                <c:pt idx="15">
                  <c:v>28</c:v>
                </c:pt>
                <c:pt idx="1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BB8-4D1B-9697-EB9E41D0D9F0}"/>
            </c:ext>
          </c:extLst>
        </c:ser>
        <c:ser>
          <c:idx val="1"/>
          <c:order val="1"/>
          <c:tx>
            <c:strRef>
              <c:f>Hoja15!$P$1</c:f>
              <c:strCache>
                <c:ptCount val="1"/>
                <c:pt idx="0">
                  <c:v>Puntos Obtenido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15!$N$2:$N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Hoja15!$P$2:$P$18</c:f>
              <c:numCache>
                <c:formatCode>General</c:formatCode>
                <c:ptCount val="17"/>
                <c:pt idx="0">
                  <c:v>329</c:v>
                </c:pt>
                <c:pt idx="1">
                  <c:v>308</c:v>
                </c:pt>
                <c:pt idx="2">
                  <c:v>308</c:v>
                </c:pt>
                <c:pt idx="3">
                  <c:v>308</c:v>
                </c:pt>
                <c:pt idx="4">
                  <c:v>308</c:v>
                </c:pt>
                <c:pt idx="5">
                  <c:v>308</c:v>
                </c:pt>
                <c:pt idx="6">
                  <c:v>308</c:v>
                </c:pt>
                <c:pt idx="7">
                  <c:v>308</c:v>
                </c:pt>
                <c:pt idx="8">
                  <c:v>308</c:v>
                </c:pt>
                <c:pt idx="9">
                  <c:v>287</c:v>
                </c:pt>
                <c:pt idx="10">
                  <c:v>259</c:v>
                </c:pt>
                <c:pt idx="11">
                  <c:v>231</c:v>
                </c:pt>
                <c:pt idx="12">
                  <c:v>231</c:v>
                </c:pt>
                <c:pt idx="13">
                  <c:v>231</c:v>
                </c:pt>
                <c:pt idx="14">
                  <c:v>168</c:v>
                </c:pt>
                <c:pt idx="15">
                  <c:v>84</c:v>
                </c:pt>
                <c:pt idx="1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BB8-4D1B-9697-EB9E41D0D9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7790896"/>
        <c:axId val="547791856"/>
      </c:lineChart>
      <c:catAx>
        <c:axId val="547790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GT"/>
          </a:p>
        </c:txPr>
        <c:crossAx val="547791856"/>
        <c:crosses val="autoZero"/>
        <c:auto val="1"/>
        <c:lblAlgn val="ctr"/>
        <c:lblOffset val="100"/>
        <c:noMultiLvlLbl val="0"/>
      </c:catAx>
      <c:valAx>
        <c:axId val="547791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GT"/>
          </a:p>
        </c:txPr>
        <c:crossAx val="547790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G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G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58CE3E-1D5F-AF45-A2E0-348CB777DF9E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D5ADD8-7B31-7942-869A-EDB1CB9C67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8559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61EF51-2F5F-1A47-B093-A52FDBA9BD5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80CBA-DE49-4541-83F6-C52186A56AF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174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5DF5F3-F94B-47DD-8934-06A8FA82E09C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98551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14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114144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17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78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2558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346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317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284EE91D-7844-41F8-A399-0E86DCD33A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080000"/>
          </a:xfrm>
          <a:prstGeom prst="rect">
            <a:avLst/>
          </a:prstGeom>
          <a:solidFill>
            <a:srgbClr val="000640"/>
          </a:solidFill>
          <a:ln w="127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321595" y="400057"/>
            <a:ext cx="10400610" cy="461077"/>
          </a:xfrm>
          <a:prstGeom prst="rect">
            <a:avLst/>
          </a:prstGeom>
        </p:spPr>
        <p:txBody>
          <a:bodyPr lIns="0"/>
          <a:lstStyle>
            <a:lvl1pPr marL="0" indent="0">
              <a:buFont typeface="+mj-lt"/>
              <a:buNone/>
              <a:defRPr sz="3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8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 of slid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1091004"/>
            <a:ext cx="12192000" cy="0"/>
          </a:xfrm>
          <a:prstGeom prst="line">
            <a:avLst/>
          </a:prstGeom>
          <a:ln w="57150">
            <a:solidFill>
              <a:srgbClr val="5AC4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">
            <a:extLst>
              <a:ext uri="{FF2B5EF4-FFF2-40B4-BE49-F238E27FC236}">
                <a16:creationId xmlns:a16="http://schemas.microsoft.com/office/drawing/2014/main" id="{CFD5DD47-BAC6-4A14-AF9E-03C54DC5494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852293" y="6534349"/>
            <a:ext cx="339707" cy="315982"/>
          </a:xfrm>
          <a:prstGeom prst="rect">
            <a:avLst/>
          </a:prstGeom>
          <a:ln w="3175">
            <a:miter lim="400000"/>
          </a:ln>
        </p:spPr>
        <p:txBody>
          <a:bodyPr wrap="none" lIns="65023" tIns="65023" rIns="65023" bIns="65023" anchor="ctr">
            <a:spAutoFit/>
          </a:bodyPr>
          <a:lstStyle>
            <a:lvl1pPr algn="r" defTabSz="1300480">
              <a:defRPr sz="12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defRPr>
            </a:lvl1pPr>
          </a:lstStyle>
          <a:p>
            <a:fld id="{7E883C2E-9546-4EC5-B1AC-966D0C177DA5}" type="slidenum">
              <a:rPr lang="es-CO" smtClean="0"/>
              <a:t>‹Nº›</a:t>
            </a:fld>
            <a:endParaRPr lang="es-CO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70B89496-B5C9-46BF-B6A5-878BFD7C67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605" y="-114389"/>
            <a:ext cx="1461437" cy="122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729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14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71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57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409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14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4C6364-2BD2-2E44-A1A6-84354B6A1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371" t="13707" r="23988" b="13894"/>
          <a:stretch/>
        </p:blipFill>
        <p:spPr>
          <a:xfrm>
            <a:off x="7322124" y="1780985"/>
            <a:ext cx="3545480" cy="384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62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55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55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18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82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50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78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172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4840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7373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2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14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75E68-35E4-584E-A278-5BEEFFFFD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6819" y="2072174"/>
            <a:ext cx="4191404" cy="236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4292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852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7116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530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553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83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077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10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9451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577" y="1144941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577" y="359074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482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560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118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853228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853228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993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52955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597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0040405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6" y="815315"/>
            <a:ext cx="494347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6" y="1639227"/>
            <a:ext cx="4943472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92182" y="815315"/>
            <a:ext cx="496781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92182" y="1639227"/>
            <a:ext cx="4967818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95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459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8890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2900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216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473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4351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6701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C4712C-FC03-474C-804E-3942C04B56AF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5EC0A9-8D67-0E4F-9D12-1207D13593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10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51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39" y="936654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613" y="936653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FAC680-3952-BD44-A263-7039780E087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5D54A3-817C-E346-A487-B7FDF41575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7275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967372"/>
            <a:ext cx="4965246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38" y="1607134"/>
            <a:ext cx="4965246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0676" y="967372"/>
            <a:ext cx="4967197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0676" y="1607134"/>
            <a:ext cx="4967197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6E2B3D-1761-B648-A81B-6C413F94E8B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AA8715-8AD1-9447-A3A7-83E793026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666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89D784-A8D7-B54C-AB08-DA776822885C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A19687-8453-334B-8C35-9685C33EA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000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C92296-5997-7446-A45A-70AAFE89C33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2A24ED-D2BE-8344-8246-3E69D87B8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96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5421141" cy="5853113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1"/>
            </a:lvl3pPr>
            <a:lvl4pPr>
              <a:defRPr sz="2001"/>
            </a:lvl4pPr>
            <a:lvl5pPr>
              <a:defRPr sz="2001"/>
            </a:lvl5pPr>
            <a:lvl6pPr>
              <a:defRPr sz="2001"/>
            </a:lvl6pPr>
            <a:lvl7pPr>
              <a:defRPr sz="2001"/>
            </a:lvl7pPr>
            <a:lvl8pPr>
              <a:defRPr sz="2001"/>
            </a:lvl8pPr>
            <a:lvl9pPr>
              <a:defRPr sz="20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52FA96-7518-AE44-8AC6-0B6E9418FEE7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3C6DE4-B131-6941-9845-6353A866A3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777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206" y="4777311"/>
            <a:ext cx="7315200" cy="566738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61206" y="589486"/>
            <a:ext cx="7315200" cy="4114800"/>
          </a:xfrm>
        </p:spPr>
        <p:txBody>
          <a:bodyPr/>
          <a:lstStyle>
            <a:lvl1pPr marL="0" indent="0">
              <a:buNone/>
              <a:defRPr sz="3201"/>
            </a:lvl1pPr>
            <a:lvl2pPr marL="457337" indent="0">
              <a:buNone/>
              <a:defRPr sz="2801"/>
            </a:lvl2pPr>
            <a:lvl3pPr marL="914674" indent="0">
              <a:buNone/>
              <a:defRPr sz="2401"/>
            </a:lvl3pPr>
            <a:lvl4pPr marL="1372011" indent="0">
              <a:buNone/>
              <a:defRPr sz="2001"/>
            </a:lvl4pPr>
            <a:lvl5pPr marL="1829349" indent="0">
              <a:buNone/>
              <a:defRPr sz="2001"/>
            </a:lvl5pPr>
            <a:lvl6pPr marL="2286686" indent="0">
              <a:buNone/>
              <a:defRPr sz="2001"/>
            </a:lvl6pPr>
            <a:lvl7pPr marL="2744023" indent="0">
              <a:buNone/>
              <a:defRPr sz="2001"/>
            </a:lvl7pPr>
            <a:lvl8pPr marL="3201360" indent="0">
              <a:buNone/>
              <a:defRPr sz="2001"/>
            </a:lvl8pPr>
            <a:lvl9pPr marL="3658697" indent="0">
              <a:buNone/>
              <a:defRPr sz="2001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61206" y="534404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037829-F6CC-D941-A36E-756BEA34130A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15BEDE-BDD3-9F48-855B-8E3B0D947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626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0E1AAC-4C2D-EB49-9CC2-C958E7DD91C2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7E865-A2E4-FE4E-B231-288A1A2E4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56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1348674" cy="5851525"/>
          </a:xfrm>
        </p:spPr>
        <p:txBody>
          <a:bodyPr vert="eaVert"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4E079D-41B8-3D4A-A54E-1CAA6B53600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C6A2D0-D668-4643-86EB-B4426ABE89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2114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671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15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962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8239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2865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84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24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259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4956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373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5372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612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30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7167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5771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5689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6987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9480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4220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139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314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07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5131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03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7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092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tif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6.tif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8.tif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image" Target="../media/image9.tiff"/><Relationship Id="rId5" Type="http://schemas.openxmlformats.org/officeDocument/2006/relationships/slideLayout" Target="../slideLayouts/slideLayout53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0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3.tiff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60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22" r:id="rId2"/>
    <p:sldLayoutId id="214748373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7449F4-258D-384D-89DE-7998721FA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8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3605" y="63475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56467" y="634755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40929" y="634755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AEFC33-015C-064D-8522-A1C8ADAD4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7733" y="5737636"/>
            <a:ext cx="1820662" cy="102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68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38C7A40-FF4C-D64A-B717-FE72F4A6858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599" y="6154132"/>
            <a:ext cx="5408009" cy="65924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1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5232CFB-2AD2-8442-849D-923337705E12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0009623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0009623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76262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9154" y="635705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0AE188-243E-5044-8D0A-8240C8C063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9899" y="5734755"/>
            <a:ext cx="1747591" cy="98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023A2A-7CAA-E54D-97E1-E2AB755AB2F6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38" y="169442"/>
            <a:ext cx="10023335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871919"/>
            <a:ext cx="10023335" cy="51323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0D7E83-1469-2548-9B65-1DBAF2A2A4DA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2"/>
            <a:ext cx="145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FD9A76-A542-6847-B145-CC008A4E53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63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457337" rtl="0" eaLnBrk="1" latinLnBrk="0" hangingPunct="1">
        <a:spcBef>
          <a:spcPct val="0"/>
        </a:spcBef>
        <a:buNone/>
        <a:defRPr sz="4401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343003" indent="-343003" algn="l" defTabSz="457337" rtl="0" eaLnBrk="1" latinLnBrk="0" hangingPunct="1">
        <a:spcBef>
          <a:spcPct val="20000"/>
        </a:spcBef>
        <a:buFont typeface="Arial"/>
        <a:buChar char="•"/>
        <a:defRPr sz="32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743173" indent="-285836" algn="l" defTabSz="457337" rtl="0" eaLnBrk="1" latinLnBrk="0" hangingPunct="1">
        <a:spcBef>
          <a:spcPct val="20000"/>
        </a:spcBef>
        <a:buFont typeface="Arial"/>
        <a:buChar char="–"/>
        <a:defRPr sz="28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343" indent="-228669" algn="l" defTabSz="457337" rtl="0" eaLnBrk="1" latinLnBrk="0" hangingPunct="1">
        <a:spcBef>
          <a:spcPct val="20000"/>
        </a:spcBef>
        <a:buFont typeface="Arial"/>
        <a:buChar char="•"/>
        <a:defRPr sz="24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680" indent="-228669" algn="l" defTabSz="457337" rtl="0" eaLnBrk="1" latinLnBrk="0" hangingPunct="1">
        <a:spcBef>
          <a:spcPct val="20000"/>
        </a:spcBef>
        <a:buFont typeface="Arial"/>
        <a:buChar char="–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8017" indent="-228669" algn="l" defTabSz="457337" rtl="0" eaLnBrk="1" latinLnBrk="0" hangingPunct="1">
        <a:spcBef>
          <a:spcPct val="20000"/>
        </a:spcBef>
        <a:buFont typeface="Arial"/>
        <a:buChar char="»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5354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692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30029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7366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1097C0-3A1B-4A48-8D98-68B26562A55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395" y="6128430"/>
            <a:ext cx="682645" cy="48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23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98C839-BC76-58BE-0AED-29D8A2E56D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5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FDCFC80-715F-12BF-B4B6-80B6165E5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4" y="-277607"/>
            <a:ext cx="11642719" cy="1325563"/>
          </a:xfrm>
        </p:spPr>
        <p:txBody>
          <a:bodyPr>
            <a:normAutofit/>
          </a:bodyPr>
          <a:lstStyle/>
          <a:p>
            <a:r>
              <a:rPr lang="en-US" dirty="0"/>
              <a:t>Proyecto: CRM Médico para </a:t>
            </a:r>
            <a:r>
              <a:rPr lang="en-US" dirty="0" err="1"/>
              <a:t>clínica</a:t>
            </a:r>
            <a:r>
              <a:rPr lang="en-US" dirty="0"/>
              <a:t> </a:t>
            </a:r>
            <a:r>
              <a:rPr lang="en-US" dirty="0" err="1"/>
              <a:t>oftalmológica</a:t>
            </a:r>
            <a:endParaRPr lang="en-US" dirty="0"/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85045A2C-BA2A-4DBC-B5B6-30819DD31D0A}"/>
              </a:ext>
            </a:extLst>
          </p:cNvPr>
          <p:cNvCxnSpPr>
            <a:cxnSpLocks/>
          </p:cNvCxnSpPr>
          <p:nvPr/>
        </p:nvCxnSpPr>
        <p:spPr>
          <a:xfrm>
            <a:off x="4432211" y="957739"/>
            <a:ext cx="5776" cy="255459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92" name="Tabla 91">
            <a:extLst>
              <a:ext uri="{FF2B5EF4-FFF2-40B4-BE49-F238E27FC236}">
                <a16:creationId xmlns:a16="http://schemas.microsoft.com/office/drawing/2014/main" id="{ABD65048-708F-40EE-9542-C2C9E8F5FA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0960292"/>
              </p:ext>
            </p:extLst>
          </p:nvPr>
        </p:nvGraphicFramePr>
        <p:xfrm>
          <a:off x="9264759" y="968423"/>
          <a:ext cx="2752998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7666">
                  <a:extLst>
                    <a:ext uri="{9D8B030D-6E8A-4147-A177-3AD203B41FA5}">
                      <a16:colId xmlns:a16="http://schemas.microsoft.com/office/drawing/2014/main" val="3764630927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763318593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25564223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200" b="1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Inicio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Entrevista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MV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698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CO" sz="1200" dirty="0">
                          <a:latin typeface="Cronos Pro" panose="020C0502030403020304" pitchFamily="34" charset="0"/>
                        </a:rPr>
                        <a:t>28/04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Cronos Pro" panose="020C0502030403020304" pitchFamily="34" charset="0"/>
                        </a:rPr>
                        <a:t>14/05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Cronos Pro" panose="020C0502030403020304" pitchFamily="34" charset="0"/>
                        </a:rPr>
                        <a:t>14/05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44780693"/>
                  </a:ext>
                </a:extLst>
              </a:tr>
            </a:tbl>
          </a:graphicData>
        </a:graphic>
      </p:graphicFrame>
      <p:graphicFrame>
        <p:nvGraphicFramePr>
          <p:cNvPr id="109" name="Tabla 108">
            <a:extLst>
              <a:ext uri="{FF2B5EF4-FFF2-40B4-BE49-F238E27FC236}">
                <a16:creationId xmlns:a16="http://schemas.microsoft.com/office/drawing/2014/main" id="{5B8B3FD7-B822-42D8-A8B7-A8718336E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0859281"/>
              </p:ext>
            </p:extLst>
          </p:nvPr>
        </p:nvGraphicFramePr>
        <p:xfrm>
          <a:off x="0" y="680445"/>
          <a:ext cx="12017757" cy="3025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09337">
                  <a:extLst>
                    <a:ext uri="{9D8B030D-6E8A-4147-A177-3AD203B41FA5}">
                      <a16:colId xmlns:a16="http://schemas.microsoft.com/office/drawing/2014/main" val="3432792389"/>
                    </a:ext>
                  </a:extLst>
                </a:gridCol>
                <a:gridCol w="1516277">
                  <a:extLst>
                    <a:ext uri="{9D8B030D-6E8A-4147-A177-3AD203B41FA5}">
                      <a16:colId xmlns:a16="http://schemas.microsoft.com/office/drawing/2014/main" val="685604499"/>
                    </a:ext>
                  </a:extLst>
                </a:gridCol>
                <a:gridCol w="3805840">
                  <a:extLst>
                    <a:ext uri="{9D8B030D-6E8A-4147-A177-3AD203B41FA5}">
                      <a16:colId xmlns:a16="http://schemas.microsoft.com/office/drawing/2014/main" val="1325943356"/>
                    </a:ext>
                  </a:extLst>
                </a:gridCol>
                <a:gridCol w="1530734">
                  <a:extLst>
                    <a:ext uri="{9D8B030D-6E8A-4147-A177-3AD203B41FA5}">
                      <a16:colId xmlns:a16="http://schemas.microsoft.com/office/drawing/2014/main" val="895329024"/>
                    </a:ext>
                  </a:extLst>
                </a:gridCol>
                <a:gridCol w="2755569">
                  <a:extLst>
                    <a:ext uri="{9D8B030D-6E8A-4147-A177-3AD203B41FA5}">
                      <a16:colId xmlns:a16="http://schemas.microsoft.com/office/drawing/2014/main" val="89959479"/>
                    </a:ext>
                  </a:extLst>
                </a:gridCol>
              </a:tblGrid>
              <a:tr h="3025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Product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Owner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Paulina Castejón </a:t>
                      </a:r>
                      <a:endParaRPr lang="es-CO" sz="1200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Grupo 5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Alcance: </a:t>
                      </a:r>
                      <a:endParaRPr lang="es-CO" sz="14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Sprint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Sprint 3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Fecha del Informe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14 May 20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074111"/>
                  </a:ext>
                </a:extLst>
              </a:tr>
            </a:tbl>
          </a:graphicData>
        </a:graphic>
      </p:graphicFrame>
      <p:sp>
        <p:nvSpPr>
          <p:cNvPr id="42" name="McK Measure">
            <a:extLst>
              <a:ext uri="{FF2B5EF4-FFF2-40B4-BE49-F238E27FC236}">
                <a16:creationId xmlns:a16="http://schemas.microsoft.com/office/drawing/2014/main" id="{078F7C1E-F0D5-4AF9-9009-AE61694939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608870" y="994086"/>
            <a:ext cx="106121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10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Releases</a:t>
            </a:r>
            <a:endParaRPr lang="es-CO" sz="10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50" name="McK Measure">
            <a:extLst>
              <a:ext uri="{FF2B5EF4-FFF2-40B4-BE49-F238E27FC236}">
                <a16:creationId xmlns:a16="http://schemas.microsoft.com/office/drawing/2014/main" id="{452BCFAD-E127-4453-B362-44D8BC7A388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42581" y="1419065"/>
            <a:ext cx="84491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8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Esperado: 0/0</a:t>
            </a:r>
          </a:p>
        </p:txBody>
      </p:sp>
      <p:sp>
        <p:nvSpPr>
          <p:cNvPr id="51" name="CuadroTexto 30">
            <a:extLst>
              <a:ext uri="{FF2B5EF4-FFF2-40B4-BE49-F238E27FC236}">
                <a16:creationId xmlns:a16="http://schemas.microsoft.com/office/drawing/2014/main" id="{2F8C8377-26D6-4E67-B3D5-77311A2E9C97}"/>
              </a:ext>
            </a:extLst>
          </p:cNvPr>
          <p:cNvSpPr txBox="1"/>
          <p:nvPr/>
        </p:nvSpPr>
        <p:spPr>
          <a:xfrm>
            <a:off x="4451045" y="976134"/>
            <a:ext cx="13292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Velocity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AVG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pee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grpSp>
        <p:nvGrpSpPr>
          <p:cNvPr id="52" name="Grupo 32">
            <a:extLst>
              <a:ext uri="{FF2B5EF4-FFF2-40B4-BE49-F238E27FC236}">
                <a16:creationId xmlns:a16="http://schemas.microsoft.com/office/drawing/2014/main" id="{23B91CB9-1587-4239-A6F8-B07127D7AB39}"/>
              </a:ext>
            </a:extLst>
          </p:cNvPr>
          <p:cNvGrpSpPr/>
          <p:nvPr/>
        </p:nvGrpSpPr>
        <p:grpSpPr>
          <a:xfrm>
            <a:off x="7665966" y="1117781"/>
            <a:ext cx="1539676" cy="726873"/>
            <a:chOff x="6890928" y="1120795"/>
            <a:chExt cx="1434570" cy="726873"/>
          </a:xfrm>
        </p:grpSpPr>
        <p:sp>
          <p:nvSpPr>
            <p:cNvPr id="54" name="Título 1">
              <a:extLst>
                <a:ext uri="{FF2B5EF4-FFF2-40B4-BE49-F238E27FC236}">
                  <a16:creationId xmlns:a16="http://schemas.microsoft.com/office/drawing/2014/main" id="{1639D445-C279-4708-B0BB-93AAFA0700C9}"/>
                </a:ext>
              </a:extLst>
            </p:cNvPr>
            <p:cNvSpPr txBox="1">
              <a:spLocks/>
            </p:cNvSpPr>
            <p:nvPr/>
          </p:nvSpPr>
          <p:spPr>
            <a:xfrm>
              <a:off x="6890928" y="1120795"/>
              <a:ext cx="1249920" cy="398507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s-CO" sz="1100" spc="-100" dirty="0">
                  <a:latin typeface="Cronos Pro" panose="020C0502030403020304" pitchFamily="34" charset="0"/>
                </a:rPr>
                <a:t>Fecha  Retrospectiva:  </a:t>
              </a:r>
              <a:r>
                <a:rPr lang="es-CO" sz="1100" spc="-100" dirty="0">
                  <a:solidFill>
                    <a:schemeClr val="accent5"/>
                  </a:solidFill>
                  <a:latin typeface="Cronos Pro" panose="020C0502030403020304" pitchFamily="34" charset="0"/>
                </a:rPr>
                <a:t>XX/XX/XXXX</a:t>
              </a:r>
            </a:p>
          </p:txBody>
        </p:sp>
        <p:sp>
          <p:nvSpPr>
            <p:cNvPr id="55" name="Título 1">
              <a:extLst>
                <a:ext uri="{FF2B5EF4-FFF2-40B4-BE49-F238E27FC236}">
                  <a16:creationId xmlns:a16="http://schemas.microsoft.com/office/drawing/2014/main" id="{5747127E-A24F-4DF7-94E5-C759F09F976F}"/>
                </a:ext>
              </a:extLst>
            </p:cNvPr>
            <p:cNvSpPr txBox="1">
              <a:spLocks/>
            </p:cNvSpPr>
            <p:nvPr/>
          </p:nvSpPr>
          <p:spPr>
            <a:xfrm>
              <a:off x="7799632" y="1602986"/>
              <a:ext cx="525866" cy="244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endParaRPr lang="es-CO" sz="1100">
                <a:latin typeface="Cronos Pro" panose="020C0502030403020304" pitchFamily="34" charset="0"/>
              </a:endParaRPr>
            </a:p>
          </p:txBody>
        </p:sp>
      </p:grpSp>
      <p:sp>
        <p:nvSpPr>
          <p:cNvPr id="56" name="McK Measure">
            <a:extLst>
              <a:ext uri="{FF2B5EF4-FFF2-40B4-BE49-F238E27FC236}">
                <a16:creationId xmlns:a16="http://schemas.microsoft.com/office/drawing/2014/main" id="{B12859CF-27F5-4C0A-8011-F809510848C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28934" y="1424857"/>
            <a:ext cx="97935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9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ctual:  60Pts</a:t>
            </a:r>
          </a:p>
        </p:txBody>
      </p:sp>
      <p:cxnSp>
        <p:nvCxnSpPr>
          <p:cNvPr id="59" name="Conector recto 42">
            <a:extLst>
              <a:ext uri="{FF2B5EF4-FFF2-40B4-BE49-F238E27FC236}">
                <a16:creationId xmlns:a16="http://schemas.microsoft.com/office/drawing/2014/main" id="{DE6651CE-BB91-4739-B7CF-CF64B7419EA6}"/>
              </a:ext>
            </a:extLst>
          </p:cNvPr>
          <p:cNvCxnSpPr>
            <a:cxnSpLocks/>
          </p:cNvCxnSpPr>
          <p:nvPr/>
        </p:nvCxnSpPr>
        <p:spPr>
          <a:xfrm>
            <a:off x="17217" y="1658242"/>
            <a:ext cx="12271022" cy="1908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Conector recto 47">
            <a:extLst>
              <a:ext uri="{FF2B5EF4-FFF2-40B4-BE49-F238E27FC236}">
                <a16:creationId xmlns:a16="http://schemas.microsoft.com/office/drawing/2014/main" id="{113A7CDB-0122-40C2-B2C4-BFC3B1A23835}"/>
              </a:ext>
            </a:extLst>
          </p:cNvPr>
          <p:cNvCxnSpPr>
            <a:cxnSpLocks/>
          </p:cNvCxnSpPr>
          <p:nvPr/>
        </p:nvCxnSpPr>
        <p:spPr>
          <a:xfrm>
            <a:off x="0" y="3486441"/>
            <a:ext cx="12271022" cy="0"/>
          </a:xfrm>
          <a:prstGeom prst="line">
            <a:avLst/>
          </a:prstGeom>
          <a:ln w="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5" name="Conector recto 45">
            <a:extLst>
              <a:ext uri="{FF2B5EF4-FFF2-40B4-BE49-F238E27FC236}">
                <a16:creationId xmlns:a16="http://schemas.microsoft.com/office/drawing/2014/main" id="{72084998-0800-49AF-BA3E-4FD642F7EEC5}"/>
              </a:ext>
            </a:extLst>
          </p:cNvPr>
          <p:cNvCxnSpPr>
            <a:cxnSpLocks/>
          </p:cNvCxnSpPr>
          <p:nvPr/>
        </p:nvCxnSpPr>
        <p:spPr>
          <a:xfrm>
            <a:off x="8813957" y="1692345"/>
            <a:ext cx="0" cy="174967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0" name="Rectángulo 43">
            <a:extLst>
              <a:ext uri="{FF2B5EF4-FFF2-40B4-BE49-F238E27FC236}">
                <a16:creationId xmlns:a16="http://schemas.microsoft.com/office/drawing/2014/main" id="{DB7E7481-E1F4-42E8-B842-D8F17712738B}"/>
              </a:ext>
            </a:extLst>
          </p:cNvPr>
          <p:cNvSpPr/>
          <p:nvPr/>
        </p:nvSpPr>
        <p:spPr>
          <a:xfrm>
            <a:off x="-72500" y="1670199"/>
            <a:ext cx="4437987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rincipales actividades/logro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Transferencia de </a:t>
            </a:r>
            <a:r>
              <a:rPr lang="es-MX" sz="1100" b="0" i="0" dirty="0" err="1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mock</a:t>
            </a: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-data hacia conexión </a:t>
            </a:r>
            <a:r>
              <a:rPr lang="es-MX" sz="1100" b="0" i="0" dirty="0" err="1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fontend-backend-db</a:t>
            </a:r>
            <a:endParaRPr lang="es-MX" sz="1100" b="0" i="0" dirty="0">
              <a:solidFill>
                <a:schemeClr val="accent1">
                  <a:lumMod val="50000"/>
                </a:schemeClr>
              </a:solidFill>
              <a:effectLst/>
              <a:latin typeface="Cronos Pro" panose="020C0502030403020304" pitchFamily="34" charset="0"/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Gestión de información básica de pacient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Implementación módulo de calendarización</a:t>
            </a:r>
          </a:p>
        </p:txBody>
      </p:sp>
      <p:sp>
        <p:nvSpPr>
          <p:cNvPr id="71" name="Rectángulo 81">
            <a:extLst>
              <a:ext uri="{FF2B5EF4-FFF2-40B4-BE49-F238E27FC236}">
                <a16:creationId xmlns:a16="http://schemas.microsoft.com/office/drawing/2014/main" id="{07833044-696D-44F7-9286-92825C559C24}"/>
              </a:ext>
            </a:extLst>
          </p:cNvPr>
          <p:cNvSpPr/>
          <p:nvPr/>
        </p:nvSpPr>
        <p:spPr>
          <a:xfrm>
            <a:off x="4422894" y="1677563"/>
            <a:ext cx="443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Nuevas </a:t>
            </a:r>
            <a:r>
              <a:rPr lang="es-CO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Features</a:t>
            </a:r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/Funciones Esperada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Calendarización de Cita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Gestión de Paciente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Vista información de paciente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72" name="Rectángulo 4">
            <a:extLst>
              <a:ext uri="{FF2B5EF4-FFF2-40B4-BE49-F238E27FC236}">
                <a16:creationId xmlns:a16="http://schemas.microsoft.com/office/drawing/2014/main" id="{CAF2DD3A-BD25-4E94-9EA2-11BE7F3870D0}"/>
              </a:ext>
            </a:extLst>
          </p:cNvPr>
          <p:cNvSpPr/>
          <p:nvPr/>
        </p:nvSpPr>
        <p:spPr>
          <a:xfrm>
            <a:off x="8879746" y="1695426"/>
            <a:ext cx="3312253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6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lertas</a:t>
            </a:r>
          </a:p>
          <a:p>
            <a:pPr algn="just"/>
            <a:r>
              <a:rPr lang="es-GT" sz="11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Errores genéricos dentro del </a:t>
            </a:r>
            <a:r>
              <a:rPr lang="es-GT" sz="1100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backend</a:t>
            </a:r>
            <a:endParaRPr lang="es-GT" sz="11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r>
              <a:rPr lang="es-GT" sz="1400" b="1" dirty="0" err="1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Stopper</a:t>
            </a:r>
            <a:r>
              <a:rPr lang="es-GT" sz="1400" b="1" dirty="0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 Issues:</a:t>
            </a:r>
          </a:p>
          <a:p>
            <a:pPr algn="just"/>
            <a:r>
              <a:rPr lang="es-CO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Inconsistencias Git </a:t>
            </a:r>
            <a:r>
              <a:rPr lang="es-CO" sz="1200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ubmodules</a:t>
            </a:r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r>
              <a:rPr lang="es-CO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Cambios de tecnología</a:t>
            </a:r>
          </a:p>
          <a:p>
            <a:pPr algn="just"/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E9CF73-A204-4739-BB78-0C99AB03DA3D}"/>
              </a:ext>
            </a:extLst>
          </p:cNvPr>
          <p:cNvSpPr/>
          <p:nvPr/>
        </p:nvSpPr>
        <p:spPr>
          <a:xfrm>
            <a:off x="4736043" y="1121087"/>
            <a:ext cx="8245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350P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453DAFA-994B-48A9-81BA-19EB6FE64676}"/>
              </a:ext>
            </a:extLst>
          </p:cNvPr>
          <p:cNvSpPr/>
          <p:nvPr/>
        </p:nvSpPr>
        <p:spPr>
          <a:xfrm>
            <a:off x="5991358" y="1139345"/>
            <a:ext cx="41549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14</a:t>
            </a:r>
          </a:p>
          <a:p>
            <a:pPr algn="ctr"/>
            <a:endParaRPr lang="es-CO" b="1" dirty="0">
              <a:solidFill>
                <a:srgbClr val="00B05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77690A5-AC03-4D2A-B08C-48955D4CA5B0}"/>
              </a:ext>
            </a:extLst>
          </p:cNvPr>
          <p:cNvSpPr/>
          <p:nvPr/>
        </p:nvSpPr>
        <p:spPr>
          <a:xfrm>
            <a:off x="6880435" y="1131156"/>
            <a:ext cx="5180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0/0</a:t>
            </a:r>
            <a:endParaRPr lang="es-CO" sz="1100" b="1" dirty="0">
              <a:solidFill>
                <a:schemeClr val="tx1">
                  <a:lumMod val="50000"/>
                  <a:lumOff val="50000"/>
                </a:schemeClr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6" name="CuadroTexto 30">
            <a:extLst>
              <a:ext uri="{FF2B5EF4-FFF2-40B4-BE49-F238E27FC236}">
                <a16:creationId xmlns:a16="http://schemas.microsoft.com/office/drawing/2014/main" id="{02965A03-8242-8999-7913-30997207D91B}"/>
              </a:ext>
            </a:extLst>
          </p:cNvPr>
          <p:cNvSpPr txBox="1"/>
          <p:nvPr/>
        </p:nvSpPr>
        <p:spPr>
          <a:xfrm>
            <a:off x="5656971" y="971286"/>
            <a:ext cx="11769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User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torie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n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8" name="Rectángulo 43">
            <a:extLst>
              <a:ext uri="{FF2B5EF4-FFF2-40B4-BE49-F238E27FC236}">
                <a16:creationId xmlns:a16="http://schemas.microsoft.com/office/drawing/2014/main" id="{C5C73BAE-153F-48D6-9386-F00682572F74}"/>
              </a:ext>
            </a:extLst>
          </p:cNvPr>
          <p:cNvSpPr/>
          <p:nvPr/>
        </p:nvSpPr>
        <p:spPr>
          <a:xfrm>
            <a:off x="26653" y="980784"/>
            <a:ext cx="44379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Objetivo Spri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Implementar módulo de calendarización, gestión de </a:t>
            </a:r>
            <a:r>
              <a:rPr lang="es-MX" sz="1100" dirty="0" err="1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de</a:t>
            </a:r>
            <a:r>
              <a:rPr lang="es-MX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 información básica de pacientes e integración </a:t>
            </a:r>
            <a:r>
              <a:rPr lang="es-MX" sz="1100" dirty="0" err="1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frontend-backend</a:t>
            </a:r>
            <a:r>
              <a:rPr lang="es-MX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,</a:t>
            </a:r>
            <a:endParaRPr lang="es-GT" sz="1100" b="0" i="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" name="Rectángulo 81">
            <a:extLst>
              <a:ext uri="{FF2B5EF4-FFF2-40B4-BE49-F238E27FC236}">
                <a16:creationId xmlns:a16="http://schemas.microsoft.com/office/drawing/2014/main" id="{A80D23EC-6FE9-3E83-4D6C-10AD0285F1A7}"/>
              </a:ext>
            </a:extLst>
          </p:cNvPr>
          <p:cNvSpPr/>
          <p:nvPr/>
        </p:nvSpPr>
        <p:spPr>
          <a:xfrm>
            <a:off x="6199107" y="3653770"/>
            <a:ext cx="48773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Lecciones Aprendidas</a:t>
            </a:r>
          </a:p>
          <a:p>
            <a:pPr marL="285750" indent="-285750" algn="just">
              <a:buFontTx/>
              <a:buChar char="-"/>
            </a:pP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Evaluar el </a:t>
            </a:r>
            <a:r>
              <a:rPr lang="es-MX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stack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 tecnológico desde el principio evita migraciones de </a:t>
            </a:r>
            <a:r>
              <a:rPr lang="es-MX" b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tecnología.</a:t>
            </a:r>
            <a:endParaRPr lang="es-MX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10" name="Rectángulo 81">
            <a:extLst>
              <a:ext uri="{FF2B5EF4-FFF2-40B4-BE49-F238E27FC236}">
                <a16:creationId xmlns:a16="http://schemas.microsoft.com/office/drawing/2014/main" id="{397EFFA7-3E8B-F648-89F8-C0994F5D07FB}"/>
              </a:ext>
            </a:extLst>
          </p:cNvPr>
          <p:cNvSpPr/>
          <p:nvPr/>
        </p:nvSpPr>
        <p:spPr>
          <a:xfrm>
            <a:off x="124324" y="3522630"/>
            <a:ext cx="4877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BurnDown</a:t>
            </a:r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 Chart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66CB4D51-6C58-068D-20D7-8C11A8496E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341950"/>
              </p:ext>
            </p:extLst>
          </p:nvPr>
        </p:nvGraphicFramePr>
        <p:xfrm>
          <a:off x="276992" y="3789624"/>
          <a:ext cx="5819007" cy="2955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3760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heme/theme1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0BA114A05866D4097DB9D9FA54A6C33" ma:contentTypeVersion="6" ma:contentTypeDescription="Crear nuevo documento." ma:contentTypeScope="" ma:versionID="dac6527dd80281d2b4063cc8dc59d0d4">
  <xsd:schema xmlns:xsd="http://www.w3.org/2001/XMLSchema" xmlns:xs="http://www.w3.org/2001/XMLSchema" xmlns:p="http://schemas.microsoft.com/office/2006/metadata/properties" xmlns:ns2="d53506b5-5843-4b98-8c99-2d2339503bbc" xmlns:ns3="adad3c38-ec27-4acb-a930-ec36b5f3dc90" targetNamespace="http://schemas.microsoft.com/office/2006/metadata/properties" ma:root="true" ma:fieldsID="ecf8a1772df2399499728b15fec13fa5" ns2:_="" ns3:_="">
    <xsd:import namespace="d53506b5-5843-4b98-8c99-2d2339503bbc"/>
    <xsd:import namespace="adad3c38-ec27-4acb-a930-ec36b5f3dc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3506b5-5843-4b98-8c99-2d2339503b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ad3c38-ec27-4acb-a930-ec36b5f3dc9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dad3c38-ec27-4acb-a930-ec36b5f3dc90">
      <UserInfo>
        <DisplayName>Luis Santiago Portillo Torres</DisplayName>
        <AccountId>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2AF69D-96D1-48A0-8FC1-147DD66BB4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3506b5-5843-4b98-8c99-2d2339503bbc"/>
    <ds:schemaRef ds:uri="adad3c38-ec27-4acb-a930-ec36b5f3dc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EE8CDE-DE92-45C8-AE2E-CA9671568B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BF3111-C015-4B5C-B20C-929C6D760C99}">
  <ds:schemaRefs>
    <ds:schemaRef ds:uri="http://schemas.microsoft.com/office/2006/metadata/properties"/>
    <ds:schemaRef ds:uri="http://schemas.microsoft.com/office/infopath/2007/PartnerControls"/>
    <ds:schemaRef ds:uri="adad3c38-ec27-4acb-a930-ec36b5f3dc9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21</TotalTime>
  <Words>149</Words>
  <Application>Microsoft Office PowerPoint</Application>
  <PresentationFormat>Panorámica</PresentationFormat>
  <Paragraphs>43</Paragraphs>
  <Slides>1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8</vt:i4>
      </vt:variant>
      <vt:variant>
        <vt:lpstr>Títulos de diapositiva</vt:lpstr>
      </vt:variant>
      <vt:variant>
        <vt:i4>1</vt:i4>
      </vt:variant>
    </vt:vector>
  </HeadingPairs>
  <TitlesOfParts>
    <vt:vector size="14" baseType="lpstr">
      <vt:lpstr>Cronos Pro</vt:lpstr>
      <vt:lpstr>Helvetica Light</vt:lpstr>
      <vt:lpstr>Calibri</vt:lpstr>
      <vt:lpstr>Calibri Light</vt:lpstr>
      <vt:lpstr>Arial</vt:lpstr>
      <vt:lpstr>6_Custom Design</vt:lpstr>
      <vt:lpstr>3_Custom Design</vt:lpstr>
      <vt:lpstr>4_Custom Design</vt:lpstr>
      <vt:lpstr>Custom Design</vt:lpstr>
      <vt:lpstr>5_Custom Design</vt:lpstr>
      <vt:lpstr>1_Office Theme</vt:lpstr>
      <vt:lpstr>2_Custom Design</vt:lpstr>
      <vt:lpstr>Office 2013 - 2022 Theme</vt:lpstr>
      <vt:lpstr>Proyecto: CRM Médico para clínica oftalmológica</vt:lpstr>
    </vt:vector>
  </TitlesOfParts>
  <Company>Ti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ge Antonio Anleu Ruiz</dc:creator>
  <cp:lastModifiedBy>ESPANA PACHECO, JAVIER EDUARDO</cp:lastModifiedBy>
  <cp:revision>240</cp:revision>
  <dcterms:created xsi:type="dcterms:W3CDTF">2017-10-03T18:28:06Z</dcterms:created>
  <dcterms:modified xsi:type="dcterms:W3CDTF">2025-05-15T05:4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BA114A05866D4097DB9D9FA54A6C33</vt:lpwstr>
  </property>
</Properties>
</file>